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Default Extension="fntdata" ContentType="application/x-fontdata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0" r:id="rId6"/>
    <p:sldId id="258" r:id="rId7"/>
    <p:sldId id="267" r:id="rId8"/>
  </p:sldIdLst>
  <p:sldSz cx="9144000" cy="6858000" type="screen4x3"/>
  <p:notesSz cx="6797675" cy="9928225"/>
  <p:embeddedFontLst>
    <p:embeddedFont>
      <p:font typeface="HeliosCond" charset="-52"/>
      <p:regular r:id="rId9"/>
      <p:bold r:id="rId10"/>
      <p:italic r:id="rId11"/>
      <p:boldItalic r:id="rId12"/>
    </p:embeddedFont>
    <p:embeddedFont>
      <p:font typeface="Calibri" pitchFamily="34" charset="0"/>
      <p:regular r:id="rId13"/>
      <p:bold r:id="rId14"/>
      <p:italic r:id="rId15"/>
      <p:boldItalic r:id="rId16"/>
    </p:embeddedFont>
    <p:embeddedFont>
      <p:font typeface="_Entypo" charset="0"/>
      <p:regular r:id="rId17"/>
    </p:embeddedFont>
    <p:embeddedFont>
      <p:font typeface="Myriad Pro Cond" charset="0"/>
      <p:regular r:id="rId18"/>
      <p:bold r:id="rId19"/>
      <p:italic r:id="rId20"/>
      <p:bold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-1494" y="-114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gif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0870" y="2864534"/>
            <a:ext cx="5857875" cy="4186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b="1" dirty="0" smtClean="0"/>
              <a:t>Строительство предприятия по переработке птичьего помета 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2966" y="5689402"/>
            <a:ext cx="5157265" cy="3276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Курская 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091608"/>
            <a:ext cx="4381915" cy="241900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25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– потребность в инвестициях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ициатором проекта является Администрация Курской области. В настоящее время АО «Агентство по привлечению инвестиций Курской области» ведется поиск  компании, которая сможет реализовать инициативу региональных органов исполнительной власти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3873238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367815" y="123588"/>
            <a:ext cx="4625184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1012156"/>
            <a:ext cx="4447221" cy="2432084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приятие по переработке птичьего помета 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ая продукция – 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огаз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гумус, жидкие калийные удобрения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: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огаз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– 5 037тыс. тонн в год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умус – 5,4тыс.тонн в год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идкие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оудобрения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‑28,2 тыс. м3 в год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9288" y="3894611"/>
            <a:ext cx="317019" cy="3170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41420704"/>
              </p:ext>
            </p:extLst>
          </p:nvPr>
        </p:nvGraphicFramePr>
        <p:xfrm>
          <a:off x="4863759" y="1285323"/>
          <a:ext cx="4217461" cy="4041173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работка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инициативы, сформулированной по итогам оценки рынка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700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н. 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25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24,8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н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1,2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P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8,5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7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6 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52183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овое предприятие по переработке птичьего помета 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Проект полностью планируется обеспечить сырьем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при введении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в эксплуатацию в Курской области комплекса по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выращиванию индейки,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что создаст необходимую базу для развития производства по его переработке. 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Дополнительным источником сырья может стать уже действующая на территории региона птицефабрика.</a:t>
            </a:r>
            <a:endParaRPr lang="ru-RU" sz="1100" dirty="0">
              <a:solidFill>
                <a:schemeClr val="accent3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анируемый срок ввода в эксплуатацию - 2025 год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настоящее время имеется нерешенная проблема с утилизацией птичьего помета на птицефабриках,. Строительство предприятия по переработке птичьего помета должно стать одним из решающих факторов улучшения экологической обстановки .  </a:t>
            </a:r>
            <a:endParaRPr lang="en-US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одится анализ имеющихся свободных земельных участков. Для реализации проекта определен участок в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Черемисиновском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районе Курской области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о строительство производственного и административного зданий, объектов инженерной и транспортной инфраструктуры, включая производственные и складские здания, проезды, автодороги и логистические площадки, систему электро-, газо- водоснабжения и водоотведения (увеличение мощности сетей).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ом предполагается приобретение импортного технологического оборудовани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Германия</a:t>
            </a:r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отребители продукции проекта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положены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территории Центрального, Северо-Западного и Южного округов.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Курская область, </a:t>
            </a:r>
          </a:p>
          <a:p>
            <a:pPr>
              <a:lnSpc>
                <a:spcPct val="114000"/>
              </a:lnSpc>
            </a:pP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</a:rPr>
              <a:t>Черемисиновский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 район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</a:rPr>
              <a:t>Химическая 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мышленность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3" name="Пятиугольник 42"/>
          <p:cNvSpPr/>
          <p:nvPr/>
        </p:nvSpPr>
        <p:spPr>
          <a:xfrm>
            <a:off x="215912" y="5762229"/>
            <a:ext cx="4171530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98130" y="5762229"/>
            <a:ext cx="3689312" cy="946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7568" y="5829409"/>
            <a:ext cx="343539" cy="343539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огаз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– 5 037тыс. тонн в год</a:t>
            </a:r>
          </a:p>
          <a:p>
            <a:pPr>
              <a:lnSpc>
                <a:spcPct val="114000"/>
              </a:lnSpc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умус – 5,4тыс.тонн в год</a:t>
            </a:r>
          </a:p>
          <a:p>
            <a:pPr>
              <a:lnSpc>
                <a:spcPct val="114000"/>
              </a:lnSpc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идкие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оудобрения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‑28,2 тыс. м3 в год 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367815" y="123588"/>
            <a:ext cx="4625184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1263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Рисунок 14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4070" y="794020"/>
            <a:ext cx="3817735" cy="1951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314325" y="4916671"/>
            <a:ext cx="1539527" cy="571164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Оформление права на земельный участок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олучение разрешения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 строительство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1606612" y="5448298"/>
            <a:ext cx="1905000" cy="986058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троительство объектов и инфраструктуры.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Привлечение </a:t>
            </a:r>
            <a:r>
              <a:rPr lang="ru-RU" sz="1000" dirty="0">
                <a:solidFill>
                  <a:schemeClr val="tx1"/>
                </a:solidFill>
              </a:rPr>
              <a:t>финансирования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3361274" y="6176008"/>
            <a:ext cx="1905000" cy="438151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Монтаж оборудования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5232530" y="4867443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в эксплуатацию завода</a:t>
            </a:r>
            <a:r>
              <a:rPr lang="ru-RU" sz="1000" dirty="0" smtClean="0">
                <a:solidFill>
                  <a:schemeClr val="tx1"/>
                </a:solidFill>
              </a:rPr>
              <a:t>.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0" name="Пятиугольник 39"/>
          <p:cNvSpPr/>
          <p:nvPr/>
        </p:nvSpPr>
        <p:spPr>
          <a:xfrm>
            <a:off x="7117487" y="4683977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ыход на проектную мощность</a:t>
            </a:r>
          </a:p>
        </p:txBody>
      </p:sp>
      <p:pic>
        <p:nvPicPr>
          <p:cNvPr id="115" name="Рисунок 11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9884" y="1847597"/>
            <a:ext cx="2723455" cy="2238966"/>
          </a:xfrm>
          <a:prstGeom prst="rect">
            <a:avLst/>
          </a:prstGeom>
        </p:spPr>
      </p:pic>
      <p:sp>
        <p:nvSpPr>
          <p:cNvPr id="116" name="Овал 115"/>
          <p:cNvSpPr/>
          <p:nvPr>
            <p:custDataLst>
              <p:tags r:id="rId3"/>
            </p:custDataLst>
          </p:nvPr>
        </p:nvSpPr>
        <p:spPr>
          <a:xfrm>
            <a:off x="3997149" y="25793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Овал 116"/>
          <p:cNvSpPr/>
          <p:nvPr>
            <p:custDataLst>
              <p:tags r:id="rId4"/>
            </p:custDataLst>
          </p:nvPr>
        </p:nvSpPr>
        <p:spPr>
          <a:xfrm>
            <a:off x="3873131" y="2756132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Овал 117"/>
          <p:cNvSpPr/>
          <p:nvPr>
            <p:custDataLst>
              <p:tags r:id="rId5"/>
            </p:custDataLst>
          </p:nvPr>
        </p:nvSpPr>
        <p:spPr>
          <a:xfrm>
            <a:off x="3634728" y="282080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Овал 118"/>
          <p:cNvSpPr/>
          <p:nvPr>
            <p:custDataLst>
              <p:tags r:id="rId6"/>
            </p:custDataLst>
          </p:nvPr>
        </p:nvSpPr>
        <p:spPr>
          <a:xfrm>
            <a:off x="3238613" y="352781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Овал 119"/>
          <p:cNvSpPr/>
          <p:nvPr>
            <p:custDataLst>
              <p:tags r:id="rId7"/>
            </p:custDataLst>
          </p:nvPr>
        </p:nvSpPr>
        <p:spPr>
          <a:xfrm>
            <a:off x="3076422" y="293474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Овал 120"/>
          <p:cNvSpPr/>
          <p:nvPr>
            <p:custDataLst>
              <p:tags r:id="rId8"/>
            </p:custDataLst>
          </p:nvPr>
        </p:nvSpPr>
        <p:spPr>
          <a:xfrm>
            <a:off x="2954067" y="2685410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Овал 121"/>
          <p:cNvSpPr/>
          <p:nvPr>
            <p:custDataLst>
              <p:tags r:id="rId9"/>
            </p:custDataLst>
          </p:nvPr>
        </p:nvSpPr>
        <p:spPr>
          <a:xfrm>
            <a:off x="3354672" y="22336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Овал 122"/>
          <p:cNvSpPr/>
          <p:nvPr>
            <p:custDataLst>
              <p:tags r:id="rId10"/>
            </p:custDataLst>
          </p:nvPr>
        </p:nvSpPr>
        <p:spPr>
          <a:xfrm>
            <a:off x="2669522" y="2298337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>
            <p:custDataLst>
              <p:tags r:id="rId11"/>
            </p:custDataLst>
          </p:nvPr>
        </p:nvSpPr>
        <p:spPr>
          <a:xfrm>
            <a:off x="2552731" y="275008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>
            <p:custDataLst>
              <p:tags r:id="rId12"/>
            </p:custDataLst>
          </p:nvPr>
        </p:nvSpPr>
        <p:spPr>
          <a:xfrm>
            <a:off x="2707554" y="298156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Овал 126"/>
          <p:cNvSpPr/>
          <p:nvPr>
            <p:custDataLst>
              <p:tags r:id="rId13"/>
            </p:custDataLst>
          </p:nvPr>
        </p:nvSpPr>
        <p:spPr>
          <a:xfrm>
            <a:off x="2419556" y="34398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TextBox 127"/>
          <p:cNvSpPr txBox="1"/>
          <p:nvPr>
            <p:custDataLst>
              <p:tags r:id="rId14"/>
            </p:custDataLst>
          </p:nvPr>
        </p:nvSpPr>
        <p:spPr>
          <a:xfrm>
            <a:off x="3629342" y="2284953"/>
            <a:ext cx="622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Ярославль</a:t>
            </a:r>
          </a:p>
        </p:txBody>
      </p:sp>
      <p:sp>
        <p:nvSpPr>
          <p:cNvPr id="129" name="TextBox 128"/>
          <p:cNvSpPr txBox="1"/>
          <p:nvPr>
            <p:custDataLst>
              <p:tags r:id="rId15"/>
            </p:custDataLst>
          </p:nvPr>
        </p:nvSpPr>
        <p:spPr>
          <a:xfrm>
            <a:off x="3994768" y="2486129"/>
            <a:ext cx="5998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острома</a:t>
            </a:r>
          </a:p>
        </p:txBody>
      </p:sp>
      <p:sp>
        <p:nvSpPr>
          <p:cNvPr id="130" name="TextBox 129"/>
          <p:cNvSpPr txBox="1"/>
          <p:nvPr>
            <p:custDataLst>
              <p:tags r:id="rId16"/>
            </p:custDataLst>
          </p:nvPr>
        </p:nvSpPr>
        <p:spPr>
          <a:xfrm>
            <a:off x="3391205" y="2944009"/>
            <a:ext cx="4748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Рязань</a:t>
            </a:r>
          </a:p>
        </p:txBody>
      </p:sp>
      <p:sp>
        <p:nvSpPr>
          <p:cNvPr id="131" name="TextBox 130"/>
          <p:cNvSpPr txBox="1"/>
          <p:nvPr>
            <p:custDataLst>
              <p:tags r:id="rId17"/>
            </p:custDataLst>
          </p:nvPr>
        </p:nvSpPr>
        <p:spPr>
          <a:xfrm>
            <a:off x="3037074" y="3237885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Липецк</a:t>
            </a:r>
          </a:p>
        </p:txBody>
      </p:sp>
      <p:sp>
        <p:nvSpPr>
          <p:cNvPr id="132" name="TextBox 131"/>
          <p:cNvSpPr txBox="1"/>
          <p:nvPr>
            <p:custDataLst>
              <p:tags r:id="rId18"/>
            </p:custDataLst>
          </p:nvPr>
        </p:nvSpPr>
        <p:spPr>
          <a:xfrm>
            <a:off x="2547663" y="3505597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оронеж</a:t>
            </a:r>
          </a:p>
        </p:txBody>
      </p:sp>
      <p:sp>
        <p:nvSpPr>
          <p:cNvPr id="133" name="TextBox 132"/>
          <p:cNvSpPr txBox="1"/>
          <p:nvPr>
            <p:custDataLst>
              <p:tags r:id="rId19"/>
            </p:custDataLst>
          </p:nvPr>
        </p:nvSpPr>
        <p:spPr>
          <a:xfrm>
            <a:off x="3258759" y="3428658"/>
            <a:ext cx="4956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амбов</a:t>
            </a:r>
          </a:p>
        </p:txBody>
      </p:sp>
      <p:sp>
        <p:nvSpPr>
          <p:cNvPr id="134" name="TextBox 133"/>
          <p:cNvSpPr txBox="1"/>
          <p:nvPr>
            <p:custDataLst>
              <p:tags r:id="rId20"/>
            </p:custDataLst>
          </p:nvPr>
        </p:nvSpPr>
        <p:spPr>
          <a:xfrm>
            <a:off x="3178972" y="2039208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верь</a:t>
            </a:r>
          </a:p>
        </p:txBody>
      </p:sp>
      <p:sp>
        <p:nvSpPr>
          <p:cNvPr id="135" name="TextBox 134"/>
          <p:cNvSpPr txBox="1"/>
          <p:nvPr>
            <p:custDataLst>
              <p:tags r:id="rId21"/>
            </p:custDataLst>
          </p:nvPr>
        </p:nvSpPr>
        <p:spPr>
          <a:xfrm>
            <a:off x="2272926" y="210467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Смоленск</a:t>
            </a:r>
          </a:p>
        </p:txBody>
      </p:sp>
      <p:sp>
        <p:nvSpPr>
          <p:cNvPr id="136" name="TextBox 135"/>
          <p:cNvSpPr txBox="1"/>
          <p:nvPr>
            <p:custDataLst>
              <p:tags r:id="rId22"/>
            </p:custDataLst>
          </p:nvPr>
        </p:nvSpPr>
        <p:spPr>
          <a:xfrm>
            <a:off x="2159760" y="2640479"/>
            <a:ext cx="473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рянск</a:t>
            </a:r>
          </a:p>
        </p:txBody>
      </p:sp>
      <p:sp>
        <p:nvSpPr>
          <p:cNvPr id="137" name="TextBox 136"/>
          <p:cNvSpPr txBox="1"/>
          <p:nvPr>
            <p:custDataLst>
              <p:tags r:id="rId23"/>
            </p:custDataLst>
          </p:nvPr>
        </p:nvSpPr>
        <p:spPr>
          <a:xfrm>
            <a:off x="2670600" y="267594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алуга</a:t>
            </a:r>
          </a:p>
        </p:txBody>
      </p:sp>
      <p:sp>
        <p:nvSpPr>
          <p:cNvPr id="138" name="TextBox 137"/>
          <p:cNvSpPr txBox="1"/>
          <p:nvPr>
            <p:custDataLst>
              <p:tags r:id="rId24"/>
            </p:custDataLst>
          </p:nvPr>
        </p:nvSpPr>
        <p:spPr>
          <a:xfrm>
            <a:off x="3071364" y="2828945"/>
            <a:ext cx="370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ула</a:t>
            </a:r>
          </a:p>
        </p:txBody>
      </p:sp>
      <p:sp>
        <p:nvSpPr>
          <p:cNvPr id="139" name="TextBox 138"/>
          <p:cNvSpPr txBox="1"/>
          <p:nvPr>
            <p:custDataLst>
              <p:tags r:id="rId25"/>
            </p:custDataLst>
          </p:nvPr>
        </p:nvSpPr>
        <p:spPr>
          <a:xfrm>
            <a:off x="3634728" y="2759095"/>
            <a:ext cx="6094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ладимир</a:t>
            </a:r>
          </a:p>
        </p:txBody>
      </p:sp>
      <p:sp>
        <p:nvSpPr>
          <p:cNvPr id="140" name="TextBox 139"/>
          <p:cNvSpPr txBox="1"/>
          <p:nvPr>
            <p:custDataLst>
              <p:tags r:id="rId26"/>
            </p:custDataLst>
          </p:nvPr>
        </p:nvSpPr>
        <p:spPr>
          <a:xfrm>
            <a:off x="3878310" y="2652958"/>
            <a:ext cx="5437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Иваново</a:t>
            </a:r>
          </a:p>
        </p:txBody>
      </p:sp>
      <p:sp>
        <p:nvSpPr>
          <p:cNvPr id="141" name="TextBox 140"/>
          <p:cNvSpPr txBox="1"/>
          <p:nvPr>
            <p:custDataLst>
              <p:tags r:id="rId27"/>
            </p:custDataLst>
          </p:nvPr>
        </p:nvSpPr>
        <p:spPr>
          <a:xfrm>
            <a:off x="2550198" y="2991752"/>
            <a:ext cx="3898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Орёл</a:t>
            </a:r>
          </a:p>
        </p:txBody>
      </p:sp>
      <p:sp>
        <p:nvSpPr>
          <p:cNvPr id="142" name="TextBox 141"/>
          <p:cNvSpPr txBox="1"/>
          <p:nvPr>
            <p:custDataLst>
              <p:tags r:id="rId28"/>
            </p:custDataLst>
          </p:nvPr>
        </p:nvSpPr>
        <p:spPr>
          <a:xfrm>
            <a:off x="2128297" y="3088537"/>
            <a:ext cx="4154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урск</a:t>
            </a:r>
          </a:p>
        </p:txBody>
      </p:sp>
      <p:sp>
        <p:nvSpPr>
          <p:cNvPr id="143" name="TextBox 142"/>
          <p:cNvSpPr txBox="1"/>
          <p:nvPr>
            <p:custDataLst>
              <p:tags r:id="rId29"/>
            </p:custDataLst>
          </p:nvPr>
        </p:nvSpPr>
        <p:spPr>
          <a:xfrm>
            <a:off x="1994701" y="3247243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елгород</a:t>
            </a:r>
          </a:p>
        </p:txBody>
      </p:sp>
      <p:sp>
        <p:nvSpPr>
          <p:cNvPr id="145" name="Овал 144"/>
          <p:cNvSpPr/>
          <p:nvPr>
            <p:custDataLst>
              <p:tags r:id="rId30"/>
            </p:custDataLst>
          </p:nvPr>
        </p:nvSpPr>
        <p:spPr>
          <a:xfrm>
            <a:off x="1953393" y="1489338"/>
            <a:ext cx="2984454" cy="2984454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6" name="Прямая соединительная линия 145"/>
          <p:cNvCxnSpPr/>
          <p:nvPr>
            <p:custDataLst>
              <p:tags r:id="rId31"/>
            </p:custDataLst>
          </p:nvPr>
        </p:nvCxnSpPr>
        <p:spPr>
          <a:xfrm>
            <a:off x="976624" y="1982871"/>
            <a:ext cx="1199276" cy="179655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V="1">
            <a:off x="984935" y="1519346"/>
            <a:ext cx="2191473" cy="46352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трелка вправо 25"/>
          <p:cNvSpPr/>
          <p:nvPr/>
        </p:nvSpPr>
        <p:spPr>
          <a:xfrm>
            <a:off x="171451" y="4134188"/>
            <a:ext cx="8820148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960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50999" y="4225212"/>
            <a:ext cx="1486014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591242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378511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8109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6</a:t>
            </a:r>
          </a:p>
        </p:txBody>
      </p:sp>
      <p:sp>
        <p:nvSpPr>
          <p:cNvPr id="54" name="Овал 53"/>
          <p:cNvSpPr/>
          <p:nvPr>
            <p:custDataLst>
              <p:tags r:id="rId32"/>
            </p:custDataLst>
          </p:nvPr>
        </p:nvSpPr>
        <p:spPr>
          <a:xfrm>
            <a:off x="2789765" y="374284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Блок-схема: узел 54"/>
          <p:cNvSpPr/>
          <p:nvPr/>
        </p:nvSpPr>
        <p:spPr>
          <a:xfrm>
            <a:off x="2467627" y="3194137"/>
            <a:ext cx="45719" cy="62630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194137" y="2605414"/>
            <a:ext cx="237995" cy="18789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5009329" y="1853853"/>
            <a:ext cx="4021937" cy="2169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TextBox 57"/>
          <p:cNvSpPr txBox="1"/>
          <p:nvPr>
            <p:custDataLst>
              <p:tags r:id="rId33"/>
            </p:custDataLst>
          </p:nvPr>
        </p:nvSpPr>
        <p:spPr>
          <a:xfrm>
            <a:off x="7515599" y="2123901"/>
            <a:ext cx="9064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err="1" smtClean="0">
                <a:latin typeface="Myriad Pro Cond" pitchFamily="34" charset="0"/>
              </a:rPr>
              <a:t>Черемисиновский</a:t>
            </a:r>
            <a:r>
              <a:rPr lang="ru-RU" sz="900" dirty="0" smtClean="0">
                <a:latin typeface="Myriad Pro Cond" pitchFamily="34" charset="0"/>
              </a:rPr>
              <a:t> район</a:t>
            </a:r>
            <a:endParaRPr lang="ru-RU" sz="900" dirty="0">
              <a:latin typeface="Myriad Pro Cond" pitchFamily="34" charset="0"/>
            </a:endParaRPr>
          </a:p>
          <a:p>
            <a:pPr algn="ctr"/>
            <a:endParaRPr lang="ru-RU" sz="900" dirty="0">
              <a:latin typeface="Myriad Pro Cond" pitchFamily="34" charset="0"/>
            </a:endParaRPr>
          </a:p>
        </p:txBody>
      </p:sp>
      <p:sp>
        <p:nvSpPr>
          <p:cNvPr id="53" name="Блок-схема: узел 52"/>
          <p:cNvSpPr/>
          <p:nvPr/>
        </p:nvSpPr>
        <p:spPr>
          <a:xfrm>
            <a:off x="7789527" y="2603795"/>
            <a:ext cx="123185" cy="135698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4367815" y="14027"/>
            <a:ext cx="4625184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02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014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БЗОР ОТРАСЛ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661662" y="1008816"/>
            <a:ext cx="5331336" cy="147040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урская область является развитым аграрным регионам,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нутрирегиональный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спрос на удобрения достаточно высок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ны ежегодно растут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40484" y="3459577"/>
            <a:ext cx="30885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енциал производства </a:t>
            </a:r>
            <a:r>
              <a:rPr lang="ru-RU" sz="11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иогаза</a:t>
            </a:r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 федеральным округам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661662" y="2700794"/>
            <a:ext cx="5331336" cy="176214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ставки сырья будут осуществляться с территории Курской и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ульской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ласти, гд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ются действующие птицефабрики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ется возможность подготовки квалифицированных кадров, в г. Курск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положены ВУЗы, которые осуществляют подготовку специалистов в химической отрасли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На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дготовительной фазе проекта планируется проведение профессионального обучения кадровых ресурсов, планируется использовать кадровые ресурсы муниципального образования. </a:t>
            </a: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61663" y="881357"/>
            <a:ext cx="5331336" cy="32352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ТРАСЛЕВЫЕ ТРЕНДЫ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5685" y="914277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3661662" y="2377607"/>
            <a:ext cx="5331336" cy="32318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БЕСПЕЧЕННОСТЬ РЕСУРСАМИ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4251" y="2411450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TextBox 36"/>
          <p:cNvSpPr txBox="1"/>
          <p:nvPr/>
        </p:nvSpPr>
        <p:spPr>
          <a:xfrm>
            <a:off x="3661662" y="4433296"/>
            <a:ext cx="5331336" cy="50115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ЕНЦИАЛЬНЫЕ ПОТРЕБИТЕЛ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69217" y="4573558"/>
            <a:ext cx="262825" cy="25477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xtBox 25"/>
          <p:cNvSpPr txBox="1"/>
          <p:nvPr/>
        </p:nvSpPr>
        <p:spPr>
          <a:xfrm>
            <a:off x="4367815" y="123588"/>
            <a:ext cx="4625184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75922448"/>
              </p:ext>
            </p:extLst>
          </p:nvPr>
        </p:nvGraphicFramePr>
        <p:xfrm>
          <a:off x="3674378" y="5025887"/>
          <a:ext cx="5318620" cy="1612626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34251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934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37542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ОО «</a:t>
                      </a:r>
                      <a:r>
                        <a:rPr lang="ru-RU" sz="105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КурскАгро</a:t>
                      </a:r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» (ООО </a:t>
                      </a:r>
                      <a:r>
                        <a:rPr lang="ru-RU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ГК «</a:t>
                      </a:r>
                      <a:r>
                        <a:rPr lang="ru-RU" sz="105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димекс</a:t>
                      </a:r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»)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0% выпускае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7542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"Русский Дом"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30% выпускае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75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ОО ГК «</a:t>
                      </a:r>
                      <a:r>
                        <a:rPr lang="ru-RU" sz="1050" kern="120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ираторг</a:t>
                      </a:r>
                      <a:r>
                        <a:rPr lang="ru-RU" sz="105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endParaRPr lang="ru-RU" sz="105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30% выпускаемой продукции</a:t>
                      </a:r>
                    </a:p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7170" name="Picture 2" descr="Биогаз из навоз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2720" y="1130300"/>
            <a:ext cx="3333750" cy="1990725"/>
          </a:xfrm>
          <a:prstGeom prst="rect">
            <a:avLst/>
          </a:prstGeom>
          <a:noFill/>
        </p:spPr>
      </p:pic>
      <p:sp>
        <p:nvSpPr>
          <p:cNvPr id="29" name="TextBox 28"/>
          <p:cNvSpPr txBox="1"/>
          <p:nvPr/>
        </p:nvSpPr>
        <p:spPr>
          <a:xfrm>
            <a:off x="220164" y="807817"/>
            <a:ext cx="30885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хема производства </a:t>
            </a:r>
            <a:r>
              <a:rPr lang="ru-RU" sz="11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иогаза</a:t>
            </a:r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из </a:t>
            </a:r>
            <a:r>
              <a:rPr lang="ru-RU" sz="11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иоотходов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5518" y="4043680"/>
            <a:ext cx="3460802" cy="174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67444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1</a:t>
            </a:r>
            <a:r>
              <a:rPr lang="ru-RU" sz="4400" b="1" dirty="0" smtClean="0">
                <a:solidFill>
                  <a:srgbClr val="820000"/>
                </a:solidFill>
              </a:rPr>
              <a:t>,25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787589"/>
            <a:ext cx="8505824" cy="167087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инансирование инвестором проекта с последующей эксплуатацией производственного объекта в качестве собственника. Наличие опыт а в реализации подобных проектов.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Администрация Курской области окажет содействие инвестору в предоставлении земельного участка для реализации проекта в аренду без торгов на условиях действующего законодательства, будет осуществляться предоставление мер государственной поддержки инвесторов, предусмотренных действующим законодательством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УЧАСТИЯ В ПРОЕК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328467" y="2979144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8</a:t>
            </a: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,5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года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51857" y="2989804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1,2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992994"/>
            <a:ext cx="2355132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24,8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н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367815" y="123588"/>
            <a:ext cx="4625184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1683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26708245"/>
              </p:ext>
            </p:extLst>
          </p:nvPr>
        </p:nvGraphicFramePr>
        <p:xfrm>
          <a:off x="2047875" y="2944774"/>
          <a:ext cx="6610349" cy="1741978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оманенко Артур Олегович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– генеральный директор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.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: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(4712) 70-70-47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:</a:t>
                      </a:r>
                      <a:r>
                        <a:rPr lang="en-US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kurskinvest@yandex.ru</a:t>
                      </a:r>
                      <a:endParaRPr lang="en-US" sz="14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http://kurskoblinvest.ru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367815" y="123588"/>
            <a:ext cx="4625184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предприятия по переработке птичьего поме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1217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627</TotalTime>
  <Words>695</Words>
  <Application>Microsoft Office PowerPoint</Application>
  <PresentationFormat>Экран (4:3)</PresentationFormat>
  <Paragraphs>142</Paragraphs>
  <Slides>7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HeliosCond</vt:lpstr>
      <vt:lpstr>Calibri</vt:lpstr>
      <vt:lpstr>Times New Roman</vt:lpstr>
      <vt:lpstr>_Entypo</vt:lpstr>
      <vt:lpstr>Myriad Pro Cond</vt:lpstr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Taratina</cp:lastModifiedBy>
  <cp:revision>240</cp:revision>
  <cp:lastPrinted>2020-03-27T14:26:09Z</cp:lastPrinted>
  <dcterms:created xsi:type="dcterms:W3CDTF">2020-02-13T13:38:48Z</dcterms:created>
  <dcterms:modified xsi:type="dcterms:W3CDTF">2020-03-31T11:11:43Z</dcterms:modified>
</cp:coreProperties>
</file>